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5" d="100"/>
          <a:sy n="65" d="100"/>
        </p:scale>
        <p:origin x="738" y="39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1B6BEDCB-788B-66CC-7BEE-D3316B6FD932}"/>
    <pc:docChg chg="modSld">
      <pc:chgData name="Christodoulou, Konstantinos" userId="S::kchristodoulou@internal.colt.net::81c234c6-6624-4c83-aac0-9aea992cfbe7" providerId="AD" clId="Web-{1B6BEDCB-788B-66CC-7BEE-D3316B6FD932}" dt="2018-11-06T12:18:49.538" v="49"/>
      <pc:docMkLst>
        <pc:docMk/>
      </pc:docMkLst>
      <pc:sldChg chg="modSp">
        <pc:chgData name="Christodoulou, Konstantinos" userId="S::kchristodoulou@internal.colt.net::81c234c6-6624-4c83-aac0-9aea992cfbe7" providerId="AD" clId="Web-{1B6BEDCB-788B-66CC-7BEE-D3316B6FD932}" dt="2018-11-06T12:18:49.538" v="4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1B6BEDCB-788B-66CC-7BEE-D3316B6FD932}" dt="2018-11-06T12:18:49.538" v="4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FF3D747A-BD62-D85C-6E6E-57DD33534ACF}"/>
    <pc:docChg chg="modSld">
      <pc:chgData name="Christodoulou, Konstantinos" userId="S::kchristodoulou@internal.colt.net::81c234c6-6624-4c83-aac0-9aea992cfbe7" providerId="AD" clId="Web-{FF3D747A-BD62-D85C-6E6E-57DD33534ACF}" dt="2018-11-01T14:23:39.765" v="57"/>
      <pc:docMkLst>
        <pc:docMk/>
      </pc:docMkLst>
      <pc:sldChg chg="modSp">
        <pc:chgData name="Christodoulou, Konstantinos" userId="S::kchristodoulou@internal.colt.net::81c234c6-6624-4c83-aac0-9aea992cfbe7" providerId="AD" clId="Web-{FF3D747A-BD62-D85C-6E6E-57DD33534ACF}" dt="2018-11-01T14:23:39.765" v="57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FF3D747A-BD62-D85C-6E6E-57DD33534ACF}" dt="2018-11-01T14:23:39.765" v="57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01E6A61C-0F24-8F83-59B5-C682D3D59536}"/>
    <pc:docChg chg="modSld">
      <pc:chgData name="Christodoulou, Konstantinos" userId="S::kchristodoulou@internal.colt.net::81c234c6-6624-4c83-aac0-9aea992cfbe7" providerId="AD" clId="Web-{01E6A61C-0F24-8F83-59B5-C682D3D59536}" dt="2019-02-05T09:53:26.544" v="77"/>
      <pc:docMkLst>
        <pc:docMk/>
      </pc:docMkLst>
      <pc:sldChg chg="modSp">
        <pc:chgData name="Christodoulou, Konstantinos" userId="S::kchristodoulou@internal.colt.net::81c234c6-6624-4c83-aac0-9aea992cfbe7" providerId="AD" clId="Web-{01E6A61C-0F24-8F83-59B5-C682D3D59536}" dt="2019-02-05T09:53:26.544" v="77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01E6A61C-0F24-8F83-59B5-C682D3D59536}" dt="2019-02-05T09:53:26.544" v="77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CH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</a:t>
            </a:r>
            <a:r>
              <a:rPr lang="en-GB" sz="2800" b="1">
                <a:solidFill>
                  <a:schemeClr val="bg1">
                    <a:lumMod val="95000"/>
                  </a:schemeClr>
                </a:solidFill>
              </a:rPr>
              <a:t>– Switzerland</a:t>
            </a:r>
            <a:endParaRPr lang="en-GB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963384"/>
              </p:ext>
            </p:extLst>
          </p:nvPr>
        </p:nvGraphicFramePr>
        <p:xfrm>
          <a:off x="825910" y="910040"/>
          <a:ext cx="10861680" cy="58878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393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&amp; Non-Geo 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   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7:00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endParaRPr lang="en-US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(DE) / Porting Form (FR) / Porting Form (IT) &amp;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py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end-customer invoice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: &amp; Number allocation docu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15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0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</a:t>
                      </a:r>
                      <a: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  <a:t>: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3 working days for Non-Geo 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6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GB" sz="16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endParaRPr lang="en-GB" sz="16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2185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 </a:t>
                      </a:r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CHPortingDesk@colt.net</a:t>
                      </a:r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2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41 800721197 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469" y="3130469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069" y="3130469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100</_dlc_DocId>
    <_dlc_DocIdUrl xmlns="85bdb67a-68dc-4b72-be68-a086d460c31f">
      <Url>https://coltinternal.sharepoint.com/sites/pt/PortingInformation/_layouts/15/DocIdRedir.aspx?ID=DHQ4KNS6T2M2-2111369996-100</Url>
      <Description>DHQ4KNS6T2M2-2111369996-10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2A3291-8F2B-48CE-8F3D-E7E24E05AF95}">
  <ds:schemaRefs>
    <ds:schemaRef ds:uri="f1d1c7a4-d8f1-45db-9f4e-e74acd9c8e06"/>
    <ds:schemaRef ds:uri="http://purl.org/dc/dcmitype/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E75DF7B-0E2E-4219-B67A-A53D46D42F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A11F62-8775-4586-A1C2-7618A57EFAD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5DB3444F-D5FB-4FF7-B67C-08F5C28D78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</Words>
  <Application>Microsoft Office PowerPoint</Application>
  <PresentationFormat>Widescreen</PresentationFormat>
  <Paragraphs>2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79</cp:revision>
  <dcterms:created xsi:type="dcterms:W3CDTF">2017-08-30T16:21:34Z</dcterms:created>
  <dcterms:modified xsi:type="dcterms:W3CDTF">2019-08-29T14:2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2f349e67-77ce-451b-9347-5814b593f662</vt:lpwstr>
  </property>
</Properties>
</file>